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42"/>
  </p:notesMasterIdLst>
  <p:handoutMasterIdLst>
    <p:handoutMasterId r:id="rId43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55" r:id="rId13"/>
    <p:sldId id="457" r:id="rId14"/>
    <p:sldId id="468" r:id="rId15"/>
    <p:sldId id="467" r:id="rId16"/>
    <p:sldId id="458" r:id="rId17"/>
    <p:sldId id="459" r:id="rId18"/>
    <p:sldId id="460" r:id="rId19"/>
    <p:sldId id="461" r:id="rId20"/>
    <p:sldId id="469" r:id="rId21"/>
    <p:sldId id="462" r:id="rId22"/>
    <p:sldId id="463" r:id="rId23"/>
    <p:sldId id="464" r:id="rId24"/>
    <p:sldId id="465" r:id="rId25"/>
    <p:sldId id="470" r:id="rId26"/>
    <p:sldId id="471" r:id="rId27"/>
    <p:sldId id="472" r:id="rId28"/>
    <p:sldId id="466" r:id="rId29"/>
    <p:sldId id="436" r:id="rId30"/>
    <p:sldId id="473" r:id="rId31"/>
    <p:sldId id="474" r:id="rId32"/>
    <p:sldId id="479" r:id="rId33"/>
    <p:sldId id="480" r:id="rId34"/>
    <p:sldId id="481" r:id="rId35"/>
    <p:sldId id="475" r:id="rId36"/>
    <p:sldId id="445" r:id="rId37"/>
    <p:sldId id="446" r:id="rId38"/>
    <p:sldId id="447" r:id="rId39"/>
    <p:sldId id="429" r:id="rId40"/>
    <p:sldId id="454" r:id="rId41"/>
  </p:sldIdLst>
  <p:sldSz cx="12192000" cy="6858000"/>
  <p:notesSz cx="6858000" cy="91440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63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3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3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ispiel: B = 2 bedeutet, im Durchschnitt müssen Personen aus der bevorzugtesten Gruppe 2 Einheiten Arbeit weniger leisten, als Personen aus der </a:t>
            </a:r>
            <a:r>
              <a:rPr lang="de-DE" dirty="0" err="1"/>
              <a:t>benachteiligtesten</a:t>
            </a:r>
            <a:r>
              <a:rPr lang="de-DE" dirty="0"/>
              <a:t> Grupp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3104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5-10, da ab 10 das Artefakt schon wieder zu lange brauch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107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3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Gruppe 4</a:t>
            </a:r>
            <a:br>
              <a:rPr lang="de-DE" dirty="0"/>
            </a:br>
            <a:r>
              <a:rPr lang="de-DE" dirty="0"/>
              <a:t>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s Input werden zwei Objekte übergeben, ein Datensatz und ein </a:t>
            </a:r>
            <a:r>
              <a:rPr lang="de-DE" dirty="0" err="1"/>
              <a:t>Kontex</a:t>
            </a:r>
            <a:r>
              <a:rPr lang="de-DE" dirty="0"/>
              <a:t>-Obje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Input-Datensatz wird in einen Test- und Trainingsdatensatz getei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Test- und Trainingsdatensatz wird ein Entscheidungsbaum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Modell des </a:t>
            </a:r>
            <a:r>
              <a:rPr lang="de-DE" dirty="0" err="1"/>
              <a:t>Machine</a:t>
            </a:r>
            <a:r>
              <a:rPr lang="de-DE" dirty="0"/>
              <a:t> Learning Algorithmus wurde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abellen-</a:t>
            </a:r>
            <a:r>
              <a:rPr lang="de-DE" dirty="0" err="1"/>
              <a:t>Builder</a:t>
            </a:r>
            <a:r>
              <a:rPr lang="de-DE" dirty="0"/>
              <a:t> erhält beide Input-Objekte als eigenen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3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FAD6D3D-EBC3-CC31-46CC-BEA958EC5F13}"/>
              </a:ext>
            </a:extLst>
          </p:cNvPr>
          <p:cNvCxnSpPr>
            <a:cxnSpLocks/>
          </p:cNvCxnSpPr>
          <p:nvPr/>
        </p:nvCxnSpPr>
        <p:spPr>
          <a:xfrm>
            <a:off x="5049225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76E13BE-A716-9FD9-55D2-0DC8A51359B6}"/>
              </a:ext>
            </a:extLst>
          </p:cNvPr>
          <p:cNvCxnSpPr>
            <a:cxnSpLocks/>
          </p:cNvCxnSpPr>
          <p:nvPr/>
        </p:nvCxnSpPr>
        <p:spPr>
          <a:xfrm>
            <a:off x="6868532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graphicFrame>
        <p:nvGraphicFramePr>
          <p:cNvPr id="21" name="Tabelle 5">
            <a:extLst>
              <a:ext uri="{FF2B5EF4-FFF2-40B4-BE49-F238E27FC236}">
                <a16:creationId xmlns:a16="http://schemas.microsoft.com/office/drawing/2014/main" id="{FF2D73EF-B8BD-3D54-CA44-BE623AA83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215780"/>
              </p:ext>
            </p:extLst>
          </p:nvPr>
        </p:nvGraphicFramePr>
        <p:xfrm>
          <a:off x="4717255" y="2056228"/>
          <a:ext cx="2958826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357040"/>
                  </a:ext>
                </a:extLst>
              </a:tr>
            </a:tbl>
          </a:graphicData>
        </a:graphic>
      </p:graphicFrame>
      <p:graphicFrame>
        <p:nvGraphicFramePr>
          <p:cNvPr id="22" name="Tabelle 5">
            <a:extLst>
              <a:ext uri="{FF2B5EF4-FFF2-40B4-BE49-F238E27FC236}">
                <a16:creationId xmlns:a16="http://schemas.microsoft.com/office/drawing/2014/main" id="{2F8A0F62-35D0-1C21-EF36-CAA1D0C4B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47480"/>
              </p:ext>
            </p:extLst>
          </p:nvPr>
        </p:nvGraphicFramePr>
        <p:xfrm>
          <a:off x="8925994" y="2056228"/>
          <a:ext cx="2958826" cy="333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168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691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67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5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13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17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2D668F1C-089C-EB29-C036-FD670052410E}"/>
              </a:ext>
            </a:extLst>
          </p:cNvPr>
          <p:cNvSpPr txBox="1"/>
          <p:nvPr/>
        </p:nvSpPr>
        <p:spPr>
          <a:xfrm>
            <a:off x="4616144" y="3964726"/>
            <a:ext cx="819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(</a:t>
            </a:r>
            <a:r>
              <a:rPr lang="de-DE" sz="2000" dirty="0" err="1"/>
              <a:t>m,w</a:t>
            </a:r>
            <a:r>
              <a:rPr lang="de-DE" sz="2000" dirty="0"/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7D06B29-2464-2916-D63C-93C66DF29F54}"/>
              </a:ext>
            </a:extLst>
          </p:cNvPr>
          <p:cNvSpPr txBox="1"/>
          <p:nvPr/>
        </p:nvSpPr>
        <p:spPr>
          <a:xfrm>
            <a:off x="6085647" y="3980115"/>
            <a:ext cx="1590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(</a:t>
            </a:r>
            <a:r>
              <a:rPr lang="de-DE" sz="1800" b="1" dirty="0"/>
              <a:t>10</a:t>
            </a:r>
            <a:r>
              <a:rPr lang="de-DE" sz="1800" dirty="0"/>
              <a:t>,11,12,</a:t>
            </a:r>
            <a:r>
              <a:rPr lang="de-DE" sz="1800" b="1" dirty="0"/>
              <a:t>13</a:t>
            </a:r>
            <a:r>
              <a:rPr lang="de-DE" sz="1800" dirty="0"/>
              <a:t>)</a:t>
            </a: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6B40B12F-BBEF-467F-47C7-8CFE798462C9}"/>
              </a:ext>
            </a:extLst>
          </p:cNvPr>
          <p:cNvCxnSpPr>
            <a:cxnSpLocks/>
          </p:cNvCxnSpPr>
          <p:nvPr/>
        </p:nvCxnSpPr>
        <p:spPr>
          <a:xfrm>
            <a:off x="7745082" y="4690606"/>
            <a:ext cx="964736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B88873E-FF15-7E5D-E349-1A97D71A49BF}"/>
              </a:ext>
            </a:extLst>
          </p:cNvPr>
          <p:cNvCxnSpPr>
            <a:cxnSpLocks/>
          </p:cNvCxnSpPr>
          <p:nvPr/>
        </p:nvCxnSpPr>
        <p:spPr>
          <a:xfrm>
            <a:off x="4997663" y="4690606"/>
            <a:ext cx="279458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A3F7CB8-6668-AFD3-4DBD-91C8E64A2D26}"/>
              </a:ext>
            </a:extLst>
          </p:cNvPr>
          <p:cNvCxnSpPr>
            <a:cxnSpLocks/>
          </p:cNvCxnSpPr>
          <p:nvPr/>
        </p:nvCxnSpPr>
        <p:spPr>
          <a:xfrm flipV="1">
            <a:off x="6859674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77069F4-90CC-5996-A162-D6D1BB09C347}"/>
              </a:ext>
            </a:extLst>
          </p:cNvPr>
          <p:cNvCxnSpPr>
            <a:cxnSpLocks/>
          </p:cNvCxnSpPr>
          <p:nvPr/>
        </p:nvCxnSpPr>
        <p:spPr>
          <a:xfrm flipV="1">
            <a:off x="5025682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1274CD32-32BF-29FD-0877-3926786E4171}"/>
              </a:ext>
            </a:extLst>
          </p:cNvPr>
          <p:cNvSpPr txBox="1"/>
          <p:nvPr/>
        </p:nvSpPr>
        <p:spPr>
          <a:xfrm>
            <a:off x="5435220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 Datensa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B881F06-4933-956D-C065-1F26A7F738E0}"/>
              </a:ext>
            </a:extLst>
          </p:cNvPr>
          <p:cNvSpPr txBox="1"/>
          <p:nvPr/>
        </p:nvSpPr>
        <p:spPr>
          <a:xfrm>
            <a:off x="9595869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r Datensatz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710FFE-3AD8-3909-7743-64F4797FA49A}"/>
              </a:ext>
            </a:extLst>
          </p:cNvPr>
          <p:cNvSpPr txBox="1"/>
          <p:nvPr/>
        </p:nvSpPr>
        <p:spPr>
          <a:xfrm>
            <a:off x="5915958" y="4039875"/>
            <a:ext cx="41106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atensatz wurde aus dem Input-Datensatz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rainierte Entscheidungsbaum erhält den erzeugten Datensatz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um das Attribut „</a:t>
            </a:r>
            <a:r>
              <a:rPr lang="de-DE" dirty="0" err="1"/>
              <a:t>Prediction</a:t>
            </a:r>
            <a:r>
              <a:rPr lang="de-DE" dirty="0"/>
              <a:t>“ ergänzt. Den Wert bestimmt der Entscheidungsbau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analys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 der Analyse werde mehrere Werte erhoben und Kennzahlen berech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rik-Berechn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1216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teil an Positiventscheidungen für jede Personengruppe aller kategorischen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z.B. Geschlecht/männlich: 53% True; Geschlecht/weiblich: 47% True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estanforderung für eine Positiventscheidung für jede Personengruppe aller kategorischen Attribute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.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 Geschlecht/männlich: 10 Verkäufe/Monat; Geschlecht/weiblich: 12 Verkäufe/Mon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7" y="3804916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nnzah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515936" y="4218916"/>
            <a:ext cx="2797715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Anteilsunterschie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er Anforderungsabstan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338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nteilsunterschied spiegelt die Stärke des </a:t>
            </a:r>
            <a:r>
              <a:rPr lang="de-DE" dirty="0" err="1"/>
              <a:t>Biases</a:t>
            </a:r>
            <a:r>
              <a:rPr lang="de-DE" dirty="0"/>
              <a:t> wied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teilsunterschie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761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(x) = Anteil an Positiventscheidungen einer Ausprägung x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) = Höchster Positiventscheidungsanteil ein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Niedrigester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itiventscheidungsanteil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1" y="4626806"/>
            <a:ext cx="4758357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Werte zwischen 1 und 0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1 = Sehr ungleichverteilte Anteile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0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Gleichverteilte Anteil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d>
                                        <m:dPr>
                                          <m:ctrlP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 ∙100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7985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sz="2400" dirty="0">
                <a:solidFill>
                  <a:prstClr val="black"/>
                </a:solidFill>
                <a:latin typeface="Arial"/>
              </a:rPr>
              <a:t>Anforderungsabstand stellt den Bias mit einem praktischen Wert dar 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>
                <a:solidFill>
                  <a:prstClr val="black"/>
                </a:solidFill>
                <a:latin typeface="Arial"/>
              </a:rPr>
              <a:t>Anforderungsabstand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065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= Höchste Mindestanforderung d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Niedrigest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destanforderung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2" y="4121922"/>
            <a:ext cx="4758357" cy="20287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Durchschnittlicher Unterschied der Mindestanforderungen zwischen den Personengruppen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Aber: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Berechnung der Mindestanforderung muss für jeden Datensatz definiert werden -&gt; Funktioniert erst dann gut, wenn die Mindestanforderung durch eine eindeutige Funktion berechnet wird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58688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liefert ein Ergebnis am Ende des Prozess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wurden 6 Datensätze zum Testen des Artefakts benutz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ier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ktrum von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verzerrungslos bis sehr stark verzerr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Kein Bias, leichter Bias, mittelstarker Bias, sehr starker Bia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4467124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Zwei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mit Verzerrung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ohne Verzerrungen</a:t>
            </a:r>
          </a:p>
        </p:txBody>
      </p:sp>
    </p:spTree>
    <p:extLst>
      <p:ext uri="{BB962C8B-B14F-4D97-AF65-F5344CB8AC3E}">
        <p14:creationId xmlns:p14="http://schemas.microsoft.com/office/powerpoint/2010/main" val="10448364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elbsterstellten Datensätze haben 5 Attribute und 84 Einträg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/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5 </a:t>
                </a: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tribute, 2 kategorisch, 2 numerisch, 1 Entscheidungsattribu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84 Dateneinträge pro Datensatz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forderung berechnet durch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𝑉𝑒𝑟𝑘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𝑢𝑓𝑒</m:t>
                        </m:r>
                      </m:num>
                      <m:den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𝑀𝑜𝑛𝑎𝑡𝑒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𝑏𝑒𝑠𝑐h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𝑓𝑡𝑖𝑔𝑡</m:t>
                        </m:r>
                      </m:den>
                    </m:f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usprägungen und Intervalle:</a:t>
                </a:r>
              </a:p>
            </p:txBody>
          </p:sp>
        </mc:Choice>
        <mc:Fallback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blipFill>
                <a:blip r:embed="rId2"/>
                <a:stretch>
                  <a:fillRect l="-2517" t="-2813" b="-56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62918418-0CA8-C966-8372-795976D6C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7509680"/>
              </p:ext>
            </p:extLst>
          </p:nvPr>
        </p:nvGraphicFramePr>
        <p:xfrm>
          <a:off x="5303191" y="2613784"/>
          <a:ext cx="6736360" cy="16304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47272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Ethni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Verkäuf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onate beschäftig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haltserhöhung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eiß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froamerikan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siat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25</a:t>
                      </a:r>
                      <a:endParaRPr lang="de-DE" sz="1100" b="0" i="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6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j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139815760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1292580" y="4105976"/>
            <a:ext cx="4235766" cy="18010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Gehaltserhöhung = {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,j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}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Verkäufe = [9;25]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Monate beschäftigt = [3;36]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Geschlecht = {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}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Ethnie = {weiß, afroamerikanisch, asiatisch}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1136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feld 36">
            <a:extLst>
              <a:ext uri="{FF2B5EF4-FFF2-40B4-BE49-F238E27FC236}">
                <a16:creationId xmlns:a16="http://schemas.microsoft.com/office/drawing/2014/main" id="{268CF00C-CB9B-A595-3064-651EBD963296}"/>
              </a:ext>
            </a:extLst>
          </p:cNvPr>
          <p:cNvSpPr txBox="1"/>
          <p:nvPr/>
        </p:nvSpPr>
        <p:spPr>
          <a:xfrm>
            <a:off x="4552426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s Artefaktes kommen der Realität sehr nah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 Ergebniss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93764E-C9ED-F6C4-1319-5F10A693FC44}"/>
              </a:ext>
            </a:extLst>
          </p:cNvPr>
          <p:cNvSpPr/>
          <p:nvPr/>
        </p:nvSpPr>
        <p:spPr>
          <a:xfrm>
            <a:off x="515938" y="1627464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241D9C9-CE82-1F7A-B9E1-0F460B12B64B}"/>
              </a:ext>
            </a:extLst>
          </p:cNvPr>
          <p:cNvSpPr/>
          <p:nvPr/>
        </p:nvSpPr>
        <p:spPr>
          <a:xfrm>
            <a:off x="6358854" y="1627464"/>
            <a:ext cx="5698683" cy="23154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043CF0A-FD10-38B9-5428-F6CED3BFA7C9}"/>
              </a:ext>
            </a:extLst>
          </p:cNvPr>
          <p:cNvSpPr/>
          <p:nvPr/>
        </p:nvSpPr>
        <p:spPr>
          <a:xfrm>
            <a:off x="515937" y="4017863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09A39E-E716-067E-43FB-FA774C91E4E1}"/>
              </a:ext>
            </a:extLst>
          </p:cNvPr>
          <p:cNvSpPr/>
          <p:nvPr/>
        </p:nvSpPr>
        <p:spPr>
          <a:xfrm>
            <a:off x="6358853" y="4017863"/>
            <a:ext cx="5698684" cy="23154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71B0AB9-262F-3207-E307-05C565E1463A}"/>
              </a:ext>
            </a:extLst>
          </p:cNvPr>
          <p:cNvSpPr txBox="1"/>
          <p:nvPr/>
        </p:nvSpPr>
        <p:spPr>
          <a:xfrm>
            <a:off x="588054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in Bi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925324A-A9CA-5CB2-21BC-C48F25D9BDB3}"/>
              </a:ext>
            </a:extLst>
          </p:cNvPr>
          <p:cNvSpPr txBox="1"/>
          <p:nvPr/>
        </p:nvSpPr>
        <p:spPr>
          <a:xfrm>
            <a:off x="588054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telstarker Bia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B492144-E454-7D56-696E-DEDD708A9D73}"/>
              </a:ext>
            </a:extLst>
          </p:cNvPr>
          <p:cNvSpPr txBox="1"/>
          <p:nvPr/>
        </p:nvSpPr>
        <p:spPr>
          <a:xfrm>
            <a:off x="6453357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hr starker Bia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CF275C5-2DCB-66C6-361F-D2FADC519628}"/>
              </a:ext>
            </a:extLst>
          </p:cNvPr>
          <p:cNvSpPr txBox="1"/>
          <p:nvPr/>
        </p:nvSpPr>
        <p:spPr>
          <a:xfrm>
            <a:off x="6453357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ichter Bia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6EA17D2-C19E-81AB-35F8-B693A9D5401D}"/>
              </a:ext>
            </a:extLst>
          </p:cNvPr>
          <p:cNvSpPr txBox="1"/>
          <p:nvPr/>
        </p:nvSpPr>
        <p:spPr>
          <a:xfrm>
            <a:off x="654341" y="2012924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ositiventscheidungsanteile gleichverteilt zwischen allen Gruppen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84E86CD-3A2A-0D49-C12C-E117DFE33599}"/>
              </a:ext>
            </a:extLst>
          </p:cNvPr>
          <p:cNvCxnSpPr>
            <a:cxnSpLocks/>
          </p:cNvCxnSpPr>
          <p:nvPr/>
        </p:nvCxnSpPr>
        <p:spPr>
          <a:xfrm flipH="1">
            <a:off x="588054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4B8A25-25AC-692A-BC85-A443B16B59DC}"/>
              </a:ext>
            </a:extLst>
          </p:cNvPr>
          <p:cNvSpPr txBox="1"/>
          <p:nvPr/>
        </p:nvSpPr>
        <p:spPr>
          <a:xfrm>
            <a:off x="654341" y="2718852"/>
            <a:ext cx="5301842" cy="791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s gleichverteilt zwischen allen Grupp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91A79D3-C28D-A874-8701-DD6B05454491}"/>
              </a:ext>
            </a:extLst>
          </p:cNvPr>
          <p:cNvCxnSpPr>
            <a:cxnSpLocks/>
          </p:cNvCxnSpPr>
          <p:nvPr/>
        </p:nvCxnSpPr>
        <p:spPr>
          <a:xfrm flipH="1">
            <a:off x="6464019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9AD26FA-1D07-73A0-93C0-DD0C0F072B86}"/>
              </a:ext>
            </a:extLst>
          </p:cNvPr>
          <p:cNvCxnSpPr>
            <a:cxnSpLocks/>
          </p:cNvCxnSpPr>
          <p:nvPr/>
        </p:nvCxnSpPr>
        <p:spPr>
          <a:xfrm flipH="1">
            <a:off x="6453357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1720836-E67B-2F0F-625C-FE83AB4B4B6B}"/>
              </a:ext>
            </a:extLst>
          </p:cNvPr>
          <p:cNvCxnSpPr>
            <a:cxnSpLocks/>
          </p:cNvCxnSpPr>
          <p:nvPr/>
        </p:nvCxnSpPr>
        <p:spPr>
          <a:xfrm flipH="1">
            <a:off x="611305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A22916D-91D2-2D1D-E740-06BE7FB34300}"/>
              </a:ext>
            </a:extLst>
          </p:cNvPr>
          <p:cNvSpPr txBox="1"/>
          <p:nvPr/>
        </p:nvSpPr>
        <p:spPr>
          <a:xfrm>
            <a:off x="6464019" y="2020778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 gleichverteilt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6%; w = 44%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9EB2ADD2-3FB6-FC85-DE74-594E4470F33C}"/>
              </a:ext>
            </a:extLst>
          </p:cNvPr>
          <p:cNvSpPr txBox="1"/>
          <p:nvPr/>
        </p:nvSpPr>
        <p:spPr>
          <a:xfrm>
            <a:off x="10417351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9A92F78B-435C-E24B-D26C-9C7B71383180}"/>
              </a:ext>
            </a:extLst>
          </p:cNvPr>
          <p:cNvSpPr txBox="1"/>
          <p:nvPr/>
        </p:nvSpPr>
        <p:spPr>
          <a:xfrm>
            <a:off x="10417351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41A6E86-9D2C-40A0-B625-9AB18CE77063}"/>
              </a:ext>
            </a:extLst>
          </p:cNvPr>
          <p:cNvSpPr txBox="1"/>
          <p:nvPr/>
        </p:nvSpPr>
        <p:spPr>
          <a:xfrm>
            <a:off x="4550895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AB6EE53-B282-C804-41DD-94ECFA340D8F}"/>
              </a:ext>
            </a:extLst>
          </p:cNvPr>
          <p:cNvSpPr txBox="1"/>
          <p:nvPr/>
        </p:nvSpPr>
        <p:spPr>
          <a:xfrm>
            <a:off x="4552425" y="5992164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C18D0ED-01AE-0A72-CE01-067FC9925838}"/>
              </a:ext>
            </a:extLst>
          </p:cNvPr>
          <p:cNvSpPr txBox="1"/>
          <p:nvPr/>
        </p:nvSpPr>
        <p:spPr>
          <a:xfrm>
            <a:off x="4550894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F892EA3-8D24-FF3B-92EB-85CF40E06592}"/>
              </a:ext>
            </a:extLst>
          </p:cNvPr>
          <p:cNvSpPr txBox="1"/>
          <p:nvPr/>
        </p:nvSpPr>
        <p:spPr>
          <a:xfrm>
            <a:off x="10417351" y="5990028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1C74088-BCA4-20A1-080A-06E58CB09AE2}"/>
              </a:ext>
            </a:extLst>
          </p:cNvPr>
          <p:cNvSpPr txBox="1"/>
          <p:nvPr/>
        </p:nvSpPr>
        <p:spPr>
          <a:xfrm>
            <a:off x="10393668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7AA1AB8-D55E-8B77-C179-217F99134D67}"/>
              </a:ext>
            </a:extLst>
          </p:cNvPr>
          <p:cNvSpPr txBox="1"/>
          <p:nvPr/>
        </p:nvSpPr>
        <p:spPr>
          <a:xfrm>
            <a:off x="654341" y="4414603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7%; w = 43%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DBB7C4CD-F157-FCEA-1264-8A695A0D0EAB}"/>
              </a:ext>
            </a:extLst>
          </p:cNvPr>
          <p:cNvSpPr txBox="1"/>
          <p:nvPr/>
        </p:nvSpPr>
        <p:spPr>
          <a:xfrm>
            <a:off x="6464019" y="4406689"/>
            <a:ext cx="5591788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6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1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2,7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10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; w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331FEBC-A1B5-36BA-9B71-EE2E62A8EFCE}"/>
              </a:ext>
            </a:extLst>
          </p:cNvPr>
          <p:cNvSpPr txBox="1"/>
          <p:nvPr/>
        </p:nvSpPr>
        <p:spPr>
          <a:xfrm>
            <a:off x="6464019" y="2718853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 gleichverteil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3%; w = 47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21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03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6C0CFE7-74A1-192C-4A53-F0756FA22B50}"/>
              </a:ext>
            </a:extLst>
          </p:cNvPr>
          <p:cNvSpPr txBox="1"/>
          <p:nvPr/>
        </p:nvSpPr>
        <p:spPr>
          <a:xfrm>
            <a:off x="654341" y="5105384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4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6%; w = 44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34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1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AEA77CA-4BE7-51E7-7514-87218FB89A5F}"/>
              </a:ext>
            </a:extLst>
          </p:cNvPr>
          <p:cNvSpPr txBox="1"/>
          <p:nvPr/>
        </p:nvSpPr>
        <p:spPr>
          <a:xfrm>
            <a:off x="6464019" y="5124735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59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14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7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100%; w = 0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7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8347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PiML</a:t>
            </a:r>
            <a:r>
              <a:rPr lang="de-DE" dirty="0"/>
              <a:t> Datensätze sind viel größer und umfangreicher als die selbsterstellen Datensätz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3DC631E-51C8-AD06-F4D2-A47082B44159}"/>
              </a:ext>
            </a:extLst>
          </p:cNvPr>
          <p:cNvSpPr txBox="1"/>
          <p:nvPr/>
        </p:nvSpPr>
        <p:spPr>
          <a:xfrm>
            <a:off x="509816" y="2056228"/>
            <a:ext cx="4607467" cy="23365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,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6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egorisch, 3 numerisch, 1 Entscheidungsattribut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0.000 Dateneinträge (Non-Bias) und 60.526 Dateneinträge (Bias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forderungsberechnungen weggelassen, da nicht genügend Kontext vorhanden war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und Intervalle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6340283" y="1982681"/>
            <a:ext cx="5404304" cy="1954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efakt terminierte nicht bei Durchführ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Abbruch nach &gt; 2h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Kreuzproduktdatei ~50 GB groß beim Abbruch</a:t>
            </a:r>
          </a:p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aher: Verwendung von Samples für Durchläuf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urchführungen für Samplegrößen von 5 bis 1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le 12">
            <a:extLst>
              <a:ext uri="{FF2B5EF4-FFF2-40B4-BE49-F238E27FC236}">
                <a16:creationId xmlns:a16="http://schemas.microsoft.com/office/drawing/2014/main" id="{A2903CB7-271F-0864-9E30-916823F2B9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891788"/>
              </p:ext>
            </p:extLst>
          </p:nvPr>
        </p:nvGraphicFramePr>
        <p:xfrm>
          <a:off x="494501" y="4975614"/>
          <a:ext cx="11545050" cy="122282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54505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7167477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936259455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79605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2778704314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849030438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 err="1"/>
                        <a:t>Mortgage</a:t>
                      </a:r>
                      <a:endParaRPr lang="de-DE" sz="1100" dirty="0">
                        <a:latin typeface="+mn-lt"/>
                      </a:endParaRP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alanc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Amoun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Past</a:t>
                      </a:r>
                      <a:r>
                        <a:rPr lang="de-DE" sz="1100" dirty="0"/>
                        <a:t> Du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Delinquency</a:t>
                      </a:r>
                      <a:r>
                        <a:rPr lang="de-DE" sz="1100" dirty="0"/>
                        <a:t> Status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Credi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Inquiry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Open Trad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Utilization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nder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Race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Status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04698.2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.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822208.1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6839.3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2640.7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3484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r Durchführungen waren für beide Datensätze glei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 Ergebniss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905590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C275AB-DE76-FE32-8D16-96EA3FD0E7B6}"/>
              </a:ext>
            </a:extLst>
          </p:cNvPr>
          <p:cNvSpPr txBox="1"/>
          <p:nvPr/>
        </p:nvSpPr>
        <p:spPr>
          <a:xfrm>
            <a:off x="671117" y="5430177"/>
            <a:ext cx="739070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s beider Datensätze führten zu den selben Ergebniss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D2F4171-C866-027A-29FF-E055D6535981}"/>
              </a:ext>
            </a:extLst>
          </p:cNvPr>
          <p:cNvSpPr txBox="1"/>
          <p:nvPr/>
        </p:nvSpPr>
        <p:spPr>
          <a:xfrm>
            <a:off x="671117" y="5793842"/>
            <a:ext cx="775982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größe nicht groß genug, um akkurate Ergebnisse zu erhalten</a:t>
            </a:r>
          </a:p>
        </p:txBody>
      </p:sp>
    </p:spTree>
    <p:extLst>
      <p:ext uri="{BB962C8B-B14F-4D97-AF65-F5344CB8AC3E}">
        <p14:creationId xmlns:p14="http://schemas.microsoft.com/office/powerpoint/2010/main" val="25184593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vom Artefakt erzeugte Datei wird bei aufwendigeren Daten sehr schnell sehr groß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igröße-Wachstum Rechenbeispi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44476BF-4BC4-ECF7-202A-F89E8136B03E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/>
              <p:nvPr/>
            </p:nvSpPr>
            <p:spPr>
              <a:xfrm>
                <a:off x="671117" y="2340456"/>
                <a:ext cx="10293294" cy="19118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: (</a:t>
                </a:r>
                <a:r>
                  <a:rPr lang="de-DE" sz="1600" dirty="0" err="1"/>
                  <a:t>m,w</a:t>
                </a:r>
                <a:r>
                  <a:rPr lang="de-DE" sz="1600" dirty="0"/>
                  <a:t>) ∗ (</a:t>
                </a:r>
                <a:r>
                  <a:rPr lang="de-DE" sz="1600" dirty="0" err="1"/>
                  <a:t>weiss</a:t>
                </a:r>
                <a:r>
                  <a:rPr lang="de-DE" sz="1600" dirty="0"/>
                  <a:t>, afroamerikanisch, asiatisch) ∗ (9,...,25) ∗ (3,...,36)</a:t>
                </a:r>
                <a:br>
                  <a:rPr lang="de-DE" sz="1600" dirty="0"/>
                </a:br>
                <a:r>
                  <a:rPr lang="de-DE" sz="1600" dirty="0"/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2∗3∗16∗33 = 3.168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r Ausprägung „d“ zum Attribut Geschlecht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 ∗ 3 ∗ 16 ∗ 33 = 4.752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s neuen Attributs „Standort“ mit 3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4.752 ∗ 3 = 14.256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𝐸𝑖𝑛𝑡𝑟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ä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𝑔𝑒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2340456"/>
                <a:ext cx="10293294" cy="1911805"/>
              </a:xfrm>
              <a:prstGeom prst="rect">
                <a:avLst/>
              </a:prstGeom>
              <a:blipFill>
                <a:blip r:embed="rId2"/>
                <a:stretch>
                  <a:fillRect l="-1125" t="-3503" b="-541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BB6B7D58-FEF0-B5AE-94B8-2B477A0F42B0}"/>
              </a:ext>
            </a:extLst>
          </p:cNvPr>
          <p:cNvSpPr txBox="1"/>
          <p:nvPr/>
        </p:nvSpPr>
        <p:spPr>
          <a:xfrm>
            <a:off x="515937" y="4352506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/>
              <p:nvPr/>
            </p:nvSpPr>
            <p:spPr>
              <a:xfrm>
                <a:off x="671117" y="4789991"/>
                <a:ext cx="11375474" cy="14870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 (Non Bias): </a:t>
                </a:r>
                <a:r>
                  <a:rPr lang="de-DE" sz="1600" dirty="0"/>
                  <a:t>(104.698,...,1.822.208) ∗ (2,...,16.839) ∗ (0,...,12640) ∗ (0,...,5) ∗ (0,...,11) ∗ (0,1) ∗ (0,1) ∗ (0,1) ∗ (0,1)</a:t>
                </a:r>
                <a:br>
                  <a:rPr lang="de-DE" sz="1600" dirty="0"/>
                </a:br>
                <a:r>
                  <a:rPr lang="de-DE" sz="1600" dirty="0"/>
                  <a:t>	- Anzahl an Dateneinträgen:</a:t>
                </a:r>
                <a14:m>
                  <m:oMath xmlns:m="http://schemas.openxmlformats.org/officeDocument/2006/math">
                    <m:r>
                      <a:rPr lang="de-DE" sz="1600" b="0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1.717.510 ∗ 16.839 ∗ 12641 ∗ 6 ∗ 12 ∗ 2 ∗ 2 ∗ 2 ∗ 2 = </m:t>
                    </m:r>
                    <m:sSup>
                      <m:sSupPr>
                        <m:ctrlPr>
                          <a:rPr lang="de-DE" sz="1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genommen pro Zeile in der erzeugten CSV Datei sind durchschnittlich 30 Zeich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0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∗</m:t>
                    </m:r>
                    <m:sSup>
                      <m:sSupPr>
                        <m:ctrlPr>
                          <a:rPr lang="de-DE" sz="16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= 12.634.868.795,9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𝐺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= 12.634,8687959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 12.635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</a:t>
                </a:r>
              </a:p>
            </p:txBody>
          </p:sp>
        </mc:Choice>
        <mc:Fallback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4789991"/>
                <a:ext cx="11375474" cy="1487074"/>
              </a:xfrm>
              <a:prstGeom prst="rect">
                <a:avLst/>
              </a:prstGeom>
              <a:blipFill>
                <a:blip r:embed="rId3"/>
                <a:stretch>
                  <a:fillRect l="-1018" t="-4508" b="-73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887222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3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05</Words>
  <Application>Microsoft Office PowerPoint</Application>
  <PresentationFormat>Breitbild</PresentationFormat>
  <Paragraphs>505</Paragraphs>
  <Slides>40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0</vt:i4>
      </vt:variant>
    </vt:vector>
  </HeadingPairs>
  <TitlesOfParts>
    <vt:vector size="46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Als Input werden zwei Objekte übergeben, ein Datensatz und ein Kontex-Objekt</vt:lpstr>
      <vt:lpstr>Nicht jeder Datensatz ist als Input für das Artefakt geeignet</vt:lpstr>
      <vt:lpstr>Es müssen Metainformationen über den Datensatz bereitgestellt werden</vt:lpstr>
      <vt:lpstr>Der Input-Datensatz wird in einen Test- und Trainingsdatensatz geteilt</vt:lpstr>
      <vt:lpstr>Mit dem Test- und Trainingsdatensatz wird ein Entscheidungsbaum trainiert</vt:lpstr>
      <vt:lpstr>Das Modell des Machine Learning Algorithmus wurde trainiert</vt:lpstr>
      <vt:lpstr>Der Tabellen-Builder erhält beide Input-Objekte als eigenen Input</vt:lpstr>
      <vt:lpstr>Aus dem Input-Datensatz wird ein neuer Datensatz mittels des Kreuzproduktes erzeugt</vt:lpstr>
      <vt:lpstr>Ein neuer Datensatz wurde aus dem Input-Datensatz erzeugt</vt:lpstr>
      <vt:lpstr>Der trainierte Entscheidungsbaum erhält den erzeugten Datensatz als Input</vt:lpstr>
      <vt:lpstr>Der erzeugte Datensatz wird um das Attribut „Prediction“ ergänzt. Den Wert bestimmt der Entscheidungsbaum</vt:lpstr>
      <vt:lpstr>Der erzeugte Datensatz wird analysiert</vt:lpstr>
      <vt:lpstr>Bei der Analyse werde mehrere Werte erhoben und Kennzahlen berechnet</vt:lpstr>
      <vt:lpstr>Der Anteilsunterschied spiegelt die Stärke des Biases wieder</vt:lpstr>
      <vt:lpstr>Der Anforderungsabstand stellt den Bias mit einem praktischen Wert dar </vt:lpstr>
      <vt:lpstr>Das Artefakt liefert ein Ergebnis am Ende des Prozesses</vt:lpstr>
      <vt:lpstr>5. Experimente</vt:lpstr>
      <vt:lpstr>Es wurden 6 Datensätze zum Testen des Artefakts benutzt</vt:lpstr>
      <vt:lpstr>Die selbsterstellten Datensätze haben 5 Attribute und 84 Einträge</vt:lpstr>
      <vt:lpstr>Die Ergebnisse des Artefaktes kommen der Realität sehr nahe</vt:lpstr>
      <vt:lpstr>Die PiML Datensätze sind viel größer und umfangreicher als die selbsterstellen Datensätze</vt:lpstr>
      <vt:lpstr>Die Ergebnisse der Durchführungen waren für beide Datensätze gleich</vt:lpstr>
      <vt:lpstr>Die vom Artefakt erzeugte Datei wird bei aufwendigeren Daten sehr schnell sehr groß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3T15:33:35Z</dcterms:modified>
</cp:coreProperties>
</file>